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0" r:id="rId1"/>
    <p:sldMasterId id="2147483699" r:id="rId2"/>
  </p:sldMasterIdLst>
  <p:notesMasterIdLst>
    <p:notesMasterId r:id="rId30"/>
  </p:notesMasterIdLst>
  <p:sldIdLst>
    <p:sldId id="2145705837" r:id="rId3"/>
    <p:sldId id="2145705838" r:id="rId4"/>
    <p:sldId id="2145705839" r:id="rId5"/>
    <p:sldId id="2145705864" r:id="rId6"/>
    <p:sldId id="2145705850" r:id="rId7"/>
    <p:sldId id="2145705851" r:id="rId8"/>
    <p:sldId id="2145705853" r:id="rId9"/>
    <p:sldId id="2145705865" r:id="rId10"/>
    <p:sldId id="2145705866" r:id="rId11"/>
    <p:sldId id="2145705867" r:id="rId12"/>
    <p:sldId id="2145705854" r:id="rId13"/>
    <p:sldId id="2145705840" r:id="rId14"/>
    <p:sldId id="2145705861" r:id="rId15"/>
    <p:sldId id="2145705862" r:id="rId16"/>
    <p:sldId id="2145705852" r:id="rId17"/>
    <p:sldId id="2145705856" r:id="rId18"/>
    <p:sldId id="2145705834" r:id="rId19"/>
    <p:sldId id="2145705857" r:id="rId20"/>
    <p:sldId id="2145705858" r:id="rId21"/>
    <p:sldId id="2145705870" r:id="rId22"/>
    <p:sldId id="2145705859" r:id="rId23"/>
    <p:sldId id="2145705860" r:id="rId24"/>
    <p:sldId id="2145705871" r:id="rId25"/>
    <p:sldId id="2145705872" r:id="rId26"/>
    <p:sldId id="2145705863" r:id="rId27"/>
    <p:sldId id="2145705868" r:id="rId28"/>
    <p:sldId id="2145705797" r:id="rId29"/>
  </p:sldIdLst>
  <p:sldSz cx="12192000" cy="6858000"/>
  <p:notesSz cx="6858000" cy="9144000"/>
  <p:embeddedFontLst>
    <p:embeddedFont>
      <p:font typeface="Avenir Next LT Pro" panose="020B0504020202020204" pitchFamily="34" charset="0"/>
      <p:regular r:id="rId31"/>
      <p:bold r:id="rId32"/>
      <p:italic r:id="rId33"/>
      <p:boldItalic r:id="rId34"/>
    </p:embeddedFont>
    <p:embeddedFont>
      <p:font typeface="Montserrat" panose="00000500000000000000" pitchFamily="2" charset="0"/>
      <p:regular r:id="rId35"/>
      <p:bold r:id="rId36"/>
      <p:italic r:id="rId37"/>
      <p:boldItalic r:id="rId38"/>
    </p:embeddedFont>
    <p:embeddedFont>
      <p:font typeface="Red Hat Text" panose="020B0604020202020204" charset="0"/>
      <p:regular r:id="rId39"/>
      <p:bold r:id="rId40"/>
      <p:italic r:id="rId41"/>
      <p:boldItalic r:id="rId42"/>
    </p:embeddedFont>
    <p:embeddedFont>
      <p:font typeface="Red Hat Text SemiBold" panose="020B0604020202020204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de-DE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a Zihn" initials="NZ" lastIdx="1" clrIdx="0">
    <p:extLst>
      <p:ext uri="{19B8F6BF-5375-455C-9EA6-DF929625EA0E}">
        <p15:presenceInfo xmlns:p15="http://schemas.microsoft.com/office/powerpoint/2012/main" userId="S::nora@clevisresearch.onmicrosoft.com::d972c7eb-b4b8-4979-8222-7bb3a4a94aca" providerId="AD"/>
      </p:ext>
    </p:extLst>
  </p:cmAuthor>
  <p:cmAuthor id="2" name="Dominik Stoffel" initials="DS" lastIdx="8" clrIdx="1">
    <p:extLst>
      <p:ext uri="{19B8F6BF-5375-455C-9EA6-DF929625EA0E}">
        <p15:presenceInfo xmlns:p15="http://schemas.microsoft.com/office/powerpoint/2012/main" userId="Dominik Stoffel" providerId="None"/>
      </p:ext>
    </p:extLst>
  </p:cmAuthor>
  <p:cmAuthor id="3" name="Tobias Jauch" initials="TJ" lastIdx="1" clrIdx="2">
    <p:extLst>
      <p:ext uri="{19B8F6BF-5375-455C-9EA6-DF929625EA0E}">
        <p15:presenceInfo xmlns:p15="http://schemas.microsoft.com/office/powerpoint/2012/main" userId="S::tobias.jauch@karat-racing.de::5ce24e9b-ba28-47dd-9d55-25a254f8d99b" providerId="AD"/>
      </p:ext>
    </p:extLst>
  </p:cmAuthor>
  <p:cmAuthor id="4" name="kunz" initials="k" lastIdx="1" clrIdx="3">
    <p:extLst>
      <p:ext uri="{19B8F6BF-5375-455C-9EA6-DF929625EA0E}">
        <p15:presenceInfo xmlns:p15="http://schemas.microsoft.com/office/powerpoint/2012/main" userId="kun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82827"/>
    <a:srgbClr val="6AB1E7"/>
    <a:srgbClr val="E21B4B"/>
    <a:srgbClr val="FFA152"/>
    <a:srgbClr val="25D07B"/>
    <a:srgbClr val="006B6B"/>
    <a:srgbClr val="D13895"/>
    <a:srgbClr val="4B3575"/>
    <a:srgbClr val="042C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79903" autoAdjust="0"/>
  </p:normalViewPr>
  <p:slideViewPr>
    <p:cSldViewPr snapToGrid="0">
      <p:cViewPr varScale="1">
        <p:scale>
          <a:sx n="58" d="100"/>
          <a:sy n="58" d="100"/>
        </p:scale>
        <p:origin x="150" y="606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75" d="100"/>
        <a:sy n="75" d="100"/>
      </p:scale>
      <p:origin x="0" y="-112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9.fntdata"/><Relationship Id="rId21" Type="http://schemas.openxmlformats.org/officeDocument/2006/relationships/slide" Target="slides/slide19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6.fntdata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20" Type="http://schemas.openxmlformats.org/officeDocument/2006/relationships/slide" Target="slides/slide18.xml"/><Relationship Id="rId41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84E330B8-E1E3-4FA7-9218-EF0D942426CD}" type="datetimeFigureOut">
              <a:rPr lang="en-GB" smtClean="0"/>
              <a:pPr/>
              <a:t>20/06/2025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2C246FC3-9EC4-40C0-BA00-570A2708BE3E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1pPr>
    <a:lvl2pPr marL="457165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2pPr>
    <a:lvl3pPr marL="91433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3pPr>
    <a:lvl4pPr marL="1371496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4pPr>
    <a:lvl5pPr marL="1828661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5pPr>
    <a:lvl6pPr marL="228582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159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„Long </a:t>
            </a:r>
            <a:r>
              <a:rPr lang="de-DE" dirty="0" err="1"/>
              <a:t>term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“ </a:t>
            </a:r>
            <a:r>
              <a:rPr lang="de-DE" dirty="0" err="1"/>
              <a:t>martin</a:t>
            </a:r>
            <a:r>
              <a:rPr lang="de-DE" dirty="0"/>
              <a:t> Dicks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024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ly in ST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258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4637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FE3FC-56DB-07A5-2F72-336C4B035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AE16EF9-9245-936E-4772-B55D24005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0343B9D-60EE-E122-C076-FAAF306454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090C23-ADBA-CDC7-4654-346DB84FA4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051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433F39-272F-EF25-39DE-505D9B67C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23A821E-39D0-665F-9551-ED8EF0EE89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6722AD3-0DC1-BAC5-2694-05EE4DAD61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0B53639-A956-4C0B-E736-F263339CA8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9081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82A80-2FED-24BE-BD3F-5E27F845B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6E3EB78-277A-F7E7-6F98-C7A6353E1B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669F325-B0CD-CE3A-858F-1EC406F7C7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2BC250-BC2B-7538-7423-ABC017AAA3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281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6AE0BE-8DD6-1309-7F41-5104E6100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1FCAD26-71CF-7FB4-5856-18CB4FB76A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9BB19E1-2821-C02D-51A9-F7A95843FE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40034E-0C82-55D0-22F5-2756E499E5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609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597ED2-FB02-E4E1-9733-3F6B963A66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2E9B17C-F901-54EC-0589-20C45E8288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0F0E0AA-21E0-F528-6EAA-754C6D3ED1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6A2F1AD-EEA5-15E9-285B-23418A7F26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246FC3-9EC4-40C0-BA00-570A2708BE3E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4004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952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4263" y="-2920719"/>
            <a:ext cx="10363196" cy="103631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81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773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554645"/>
            <a:ext cx="360000" cy="216000"/>
          </a:xfrm>
        </p:spPr>
        <p:txBody>
          <a:bodyPr/>
          <a:lstStyle>
            <a:lvl1pPr>
              <a:defRPr sz="1200"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32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7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1-spaltig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83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514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2002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9594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5D3AE0-7A05-16D1-01E0-48F4462AA6F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6535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28254CF-8605-E1A3-198F-34C0A6A06A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724" y="4969447"/>
            <a:ext cx="2695575" cy="133970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91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75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831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541338" y="1649095"/>
            <a:ext cx="11086652" cy="4645271"/>
          </a:xfrm>
          <a:prstGeom prst="rect">
            <a:avLst/>
          </a:prstGeom>
          <a:noFill/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991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541338" y="1649095"/>
            <a:ext cx="11086652" cy="4645271"/>
          </a:xfrm>
          <a:prstGeom prst="rect">
            <a:avLst/>
          </a:prstGeom>
          <a:noFill/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658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856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210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80800" y="-2919600"/>
            <a:ext cx="10364400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563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62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3" r:id="rId2"/>
    <p:sldLayoutId id="2147483702" r:id="rId3"/>
    <p:sldLayoutId id="2147483704" r:id="rId4"/>
    <p:sldLayoutId id="2147483705" r:id="rId5"/>
    <p:sldLayoutId id="2147483708" r:id="rId6"/>
    <p:sldLayoutId id="2147483706" r:id="rId7"/>
    <p:sldLayoutId id="2147483709" r:id="rId8"/>
    <p:sldLayoutId id="2147483707" r:id="rId9"/>
    <p:sldLayoutId id="2147483710" r:id="rId10"/>
    <p:sldLayoutId id="2147483698" r:id="rId11"/>
  </p:sldLayoutIdLst>
  <p:hf hdr="0" ft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, </a:t>
            </a:r>
            <a:r>
              <a:rPr lang="en-DE" dirty="0"/>
              <a:t>40</a:t>
            </a:r>
            <a:r>
              <a:rPr lang="de-DE" dirty="0" err="1"/>
              <a:t>pt</a:t>
            </a:r>
            <a:r>
              <a:rPr lang="de-DE" dirty="0"/>
              <a:t>, 1- oder 2-zeilig 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5BCB707B-724B-66AA-6842-B7D13356D2A4}"/>
              </a:ext>
            </a:extLst>
          </p:cNvPr>
          <p:cNvSpPr/>
          <p:nvPr userDrawn="1"/>
        </p:nvSpPr>
        <p:spPr>
          <a:xfrm rot="5400000">
            <a:off x="-664894" y="810299"/>
            <a:ext cx="493854" cy="493854"/>
          </a:xfrm>
          <a:prstGeom prst="roundRect">
            <a:avLst/>
          </a:prstGeom>
          <a:solidFill>
            <a:srgbClr val="282827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4" name="Rechteck: abgerundete Ecken 10">
            <a:extLst>
              <a:ext uri="{FF2B5EF4-FFF2-40B4-BE49-F238E27FC236}">
                <a16:creationId xmlns:a16="http://schemas.microsoft.com/office/drawing/2014/main" id="{725858DF-B561-A996-A8F4-506CA1EDBA44}"/>
              </a:ext>
            </a:extLst>
          </p:cNvPr>
          <p:cNvSpPr/>
          <p:nvPr userDrawn="1"/>
        </p:nvSpPr>
        <p:spPr>
          <a:xfrm rot="5400000">
            <a:off x="-664894" y="1395383"/>
            <a:ext cx="493854" cy="493854"/>
          </a:xfrm>
          <a:prstGeom prst="roundRect">
            <a:avLst/>
          </a:prstGeom>
          <a:solidFill>
            <a:srgbClr val="042C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5" name="Rechteck: abgerundete Ecken 11">
            <a:extLst>
              <a:ext uri="{FF2B5EF4-FFF2-40B4-BE49-F238E27FC236}">
                <a16:creationId xmlns:a16="http://schemas.microsoft.com/office/drawing/2014/main" id="{77FDEC6D-0DCF-954E-318D-5D2933E6994C}"/>
              </a:ext>
            </a:extLst>
          </p:cNvPr>
          <p:cNvSpPr/>
          <p:nvPr userDrawn="1"/>
        </p:nvSpPr>
        <p:spPr>
          <a:xfrm rot="5400000">
            <a:off x="-664894" y="1990946"/>
            <a:ext cx="493854" cy="493854"/>
          </a:xfrm>
          <a:prstGeom prst="roundRect">
            <a:avLst/>
          </a:prstGeom>
          <a:solidFill>
            <a:srgbClr val="6AB1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6" name="Rechteck: abgerundete Ecken 12">
            <a:extLst>
              <a:ext uri="{FF2B5EF4-FFF2-40B4-BE49-F238E27FC236}">
                <a16:creationId xmlns:a16="http://schemas.microsoft.com/office/drawing/2014/main" id="{D1F9F3EB-4EF5-375C-EED9-F3895A174A90}"/>
              </a:ext>
            </a:extLst>
          </p:cNvPr>
          <p:cNvSpPr/>
          <p:nvPr userDrawn="1"/>
        </p:nvSpPr>
        <p:spPr>
          <a:xfrm rot="5400000">
            <a:off x="-664894" y="2586509"/>
            <a:ext cx="493854" cy="493854"/>
          </a:xfrm>
          <a:prstGeom prst="roundRect">
            <a:avLst/>
          </a:prstGeom>
          <a:solidFill>
            <a:srgbClr val="E21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7" name="Rechteck: abgerundete Ecken 13">
            <a:extLst>
              <a:ext uri="{FF2B5EF4-FFF2-40B4-BE49-F238E27FC236}">
                <a16:creationId xmlns:a16="http://schemas.microsoft.com/office/drawing/2014/main" id="{2B32428D-271B-5842-A64A-1B21219103B8}"/>
              </a:ext>
            </a:extLst>
          </p:cNvPr>
          <p:cNvSpPr/>
          <p:nvPr userDrawn="1"/>
        </p:nvSpPr>
        <p:spPr>
          <a:xfrm rot="5400000">
            <a:off x="-664894" y="3182072"/>
            <a:ext cx="493854" cy="493854"/>
          </a:xfrm>
          <a:prstGeom prst="roundRect">
            <a:avLst/>
          </a:prstGeom>
          <a:solidFill>
            <a:srgbClr val="FFA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9" name="Rechteck: abgerundete Ecken 14">
            <a:extLst>
              <a:ext uri="{FF2B5EF4-FFF2-40B4-BE49-F238E27FC236}">
                <a16:creationId xmlns:a16="http://schemas.microsoft.com/office/drawing/2014/main" id="{98275B63-A4E7-DFDF-AB0C-6BEB1BEAE59E}"/>
              </a:ext>
            </a:extLst>
          </p:cNvPr>
          <p:cNvSpPr/>
          <p:nvPr userDrawn="1"/>
        </p:nvSpPr>
        <p:spPr>
          <a:xfrm rot="5400000">
            <a:off x="-664894" y="3777635"/>
            <a:ext cx="493854" cy="493854"/>
          </a:xfrm>
          <a:prstGeom prst="roundRect">
            <a:avLst/>
          </a:prstGeom>
          <a:solidFill>
            <a:srgbClr val="4B3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0" name="Rechteck: abgerundete Ecken 15">
            <a:extLst>
              <a:ext uri="{FF2B5EF4-FFF2-40B4-BE49-F238E27FC236}">
                <a16:creationId xmlns:a16="http://schemas.microsoft.com/office/drawing/2014/main" id="{F634432C-CCD0-4F4C-EA3E-59589E35B992}"/>
              </a:ext>
            </a:extLst>
          </p:cNvPr>
          <p:cNvSpPr/>
          <p:nvPr userDrawn="1"/>
        </p:nvSpPr>
        <p:spPr>
          <a:xfrm rot="5400000">
            <a:off x="-664894" y="4373198"/>
            <a:ext cx="493854" cy="493854"/>
          </a:xfrm>
          <a:prstGeom prst="roundRect">
            <a:avLst/>
          </a:prstGeom>
          <a:solidFill>
            <a:srgbClr val="D13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1" name="Rechteck: abgerundete Ecken 16">
            <a:extLst>
              <a:ext uri="{FF2B5EF4-FFF2-40B4-BE49-F238E27FC236}">
                <a16:creationId xmlns:a16="http://schemas.microsoft.com/office/drawing/2014/main" id="{8EA78016-B8C0-8EEB-9E36-E5AFC72B7093}"/>
              </a:ext>
            </a:extLst>
          </p:cNvPr>
          <p:cNvSpPr/>
          <p:nvPr userDrawn="1"/>
        </p:nvSpPr>
        <p:spPr>
          <a:xfrm rot="5400000">
            <a:off x="-664894" y="4968761"/>
            <a:ext cx="493854" cy="493854"/>
          </a:xfrm>
          <a:prstGeom prst="roundRect">
            <a:avLst/>
          </a:prstGeom>
          <a:solidFill>
            <a:srgbClr val="00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3" name="Rechteck: abgerundete Ecken 17">
            <a:extLst>
              <a:ext uri="{FF2B5EF4-FFF2-40B4-BE49-F238E27FC236}">
                <a16:creationId xmlns:a16="http://schemas.microsoft.com/office/drawing/2014/main" id="{89C4DD8C-AA98-B767-376A-19F65C24F7BC}"/>
              </a:ext>
            </a:extLst>
          </p:cNvPr>
          <p:cNvSpPr/>
          <p:nvPr userDrawn="1"/>
        </p:nvSpPr>
        <p:spPr>
          <a:xfrm rot="5400000">
            <a:off x="-664894" y="5564326"/>
            <a:ext cx="493854" cy="493854"/>
          </a:xfrm>
          <a:prstGeom prst="roundRect">
            <a:avLst/>
          </a:prstGeom>
          <a:solidFill>
            <a:srgbClr val="25D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5" name="Rechteck: abgerundete Ecken 8">
            <a:extLst>
              <a:ext uri="{FF2B5EF4-FFF2-40B4-BE49-F238E27FC236}">
                <a16:creationId xmlns:a16="http://schemas.microsoft.com/office/drawing/2014/main" id="{4C8FCB76-18CF-2BDF-8DE3-E4AEF12F6FB0}"/>
              </a:ext>
            </a:extLst>
          </p:cNvPr>
          <p:cNvSpPr/>
          <p:nvPr userDrawn="1"/>
        </p:nvSpPr>
        <p:spPr>
          <a:xfrm rot="5400000">
            <a:off x="-657559" y="184645"/>
            <a:ext cx="493854" cy="493854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480000"/>
            <a:ext cx="8964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7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2" r:id="rId3"/>
    <p:sldLayoutId id="2147483653" r:id="rId4"/>
    <p:sldLayoutId id="2147483654" r:id="rId5"/>
    <p:sldLayoutId id="2147483656" r:id="rId6"/>
  </p:sldLayoutIdLst>
  <p:hf hdr="0" ft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2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5" Type="http://schemas.openxmlformats.org/officeDocument/2006/relationships/image" Target="../media/image31.png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00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en-US" sz="32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cureView</a:t>
            </a:r>
            <a:r>
              <a:rPr lang="en-US" sz="32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1100" dirty="0">
                <a:solidFill>
                  <a:srgbClr val="FFFFFF"/>
                </a:solidFill>
              </a:rPr>
              <a:t> </a:t>
            </a:r>
            <a:br>
              <a:rPr lang="en-US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en-US" sz="24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isualizing Defense against Transient Execution Side Channels</a:t>
            </a:r>
            <a:endParaRPr lang="de-DE" sz="2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95E96E-148E-4FFA-73CB-2BD13AEAE899}"/>
              </a:ext>
            </a:extLst>
          </p:cNvPr>
          <p:cNvSpPr txBox="1">
            <a:spLocks/>
          </p:cNvSpPr>
          <p:nvPr/>
        </p:nvSpPr>
        <p:spPr>
          <a:xfrm>
            <a:off x="539999" y="3996067"/>
            <a:ext cx="7948018" cy="44671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em5 Workshop 2025, Tokyo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2-06-2025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600" cap="none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hilipp Schmitz, Tobias Jauch, Alex Wezel, Mohammad R. </a:t>
            </a:r>
            <a:r>
              <a:rPr lang="de-DE" sz="2000" cap="none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diheh</a:t>
            </a:r>
            <a:r>
              <a:rPr lang="de-DE" sz="20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Thore Tiemann, Jonah Heller, Thomas Eisenbarth, Dominik Stoffel, Wolfgang Kunz</a:t>
            </a:r>
          </a:p>
        </p:txBody>
      </p:sp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3E2960E3-1167-F92D-9F2B-3DBDF42FD52A}"/>
              </a:ext>
            </a:extLst>
          </p:cNvPr>
          <p:cNvCxnSpPr>
            <a:cxnSpLocks/>
          </p:cNvCxnSpPr>
          <p:nvPr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4B96D054-1A04-0E2F-B68A-96E4780C683C}"/>
              </a:ext>
            </a:extLst>
          </p:cNvPr>
          <p:cNvSpPr txBox="1"/>
          <p:nvPr/>
        </p:nvSpPr>
        <p:spPr>
          <a:xfrm>
            <a:off x="-484094" y="34424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82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2C51E-508E-BAB5-919C-AF0FF0876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AAF95D-FDE8-F020-988F-FF579B8DF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o3PipeView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AF74B1F-8EE4-0330-1C65-4FE7DBFCC2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4BBDDD1-EF60-890E-2BA9-29D95114ED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8" y="1620000"/>
            <a:ext cx="11302045" cy="44447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Timepoints for </a:t>
            </a:r>
            <a:r>
              <a:rPr lang="en-US" sz="3000" b="1" dirty="0">
                <a:solidFill>
                  <a:schemeClr val="tx2"/>
                </a:solidFill>
              </a:rPr>
              <a:t>f</a:t>
            </a:r>
            <a:r>
              <a:rPr lang="en-US" sz="3000" dirty="0"/>
              <a:t>etch, </a:t>
            </a:r>
            <a:r>
              <a:rPr lang="en-US" sz="3000" b="1" dirty="0">
                <a:solidFill>
                  <a:schemeClr val="accent6"/>
                </a:solidFill>
              </a:rPr>
              <a:t>d</a:t>
            </a:r>
            <a:r>
              <a:rPr lang="en-US" sz="3000" dirty="0"/>
              <a:t>ecode, re</a:t>
            </a:r>
            <a:r>
              <a:rPr lang="en-US" sz="3000" b="1" dirty="0">
                <a:solidFill>
                  <a:schemeClr val="accent4"/>
                </a:solidFill>
              </a:rPr>
              <a:t>n</a:t>
            </a:r>
            <a:r>
              <a:rPr lang="en-US" sz="3000" dirty="0"/>
              <a:t>ame, dis</a:t>
            </a:r>
            <a:r>
              <a:rPr lang="en-US" sz="3000" b="1" dirty="0">
                <a:solidFill>
                  <a:schemeClr val="accent2"/>
                </a:solidFill>
              </a:rPr>
              <a:t>p</a:t>
            </a:r>
            <a:r>
              <a:rPr lang="en-US" sz="3000" dirty="0"/>
              <a:t>atch, </a:t>
            </a:r>
            <a:r>
              <a:rPr lang="en-US" sz="3000" b="1" dirty="0">
                <a:solidFill>
                  <a:schemeClr val="accent5"/>
                </a:solidFill>
              </a:rPr>
              <a:t>i</a:t>
            </a:r>
            <a:r>
              <a:rPr lang="en-US" sz="3000" dirty="0"/>
              <a:t>ssue, </a:t>
            </a:r>
            <a:r>
              <a:rPr lang="en-US" sz="3000" b="1" dirty="0">
                <a:solidFill>
                  <a:schemeClr val="bg2"/>
                </a:solidFill>
              </a:rPr>
              <a:t>c</a:t>
            </a:r>
            <a:r>
              <a:rPr lang="en-US" sz="3000" dirty="0"/>
              <a:t>omplete, </a:t>
            </a:r>
            <a:r>
              <a:rPr lang="en-US" sz="3000" b="1" dirty="0">
                <a:solidFill>
                  <a:schemeClr val="tx2"/>
                </a:solidFill>
              </a:rPr>
              <a:t>r</a:t>
            </a:r>
            <a:r>
              <a:rPr lang="en-US" sz="3000" dirty="0"/>
              <a:t>eti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PC, macro-operation, sequence number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A73C9B2-B355-515E-FD2E-DD55B8359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488" y="3666069"/>
            <a:ext cx="11747023" cy="1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435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2FF4D-78B1-FB58-2133-C4CCA477C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311B69-307E-E282-F817-F5356A666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 err="1"/>
              <a:t>SecureView</a:t>
            </a:r>
            <a:endParaRPr lang="en-US" sz="3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0FE659A-0798-5CF0-DFEA-A64E9CCFA4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47E9551-EBB3-9153-78E4-46D3DDC3EE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8" y="1620000"/>
            <a:ext cx="11302045" cy="44447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Goal: gain insight </a:t>
            </a:r>
            <a:r>
              <a:rPr lang="en-US" sz="3000" b="1" dirty="0">
                <a:solidFill>
                  <a:schemeClr val="tx2"/>
                </a:solidFill>
              </a:rPr>
              <a:t>how</a:t>
            </a:r>
            <a:r>
              <a:rPr lang="en-US" sz="3000" dirty="0"/>
              <a:t> mitigations wor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Debuggin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Educ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Augment the gem5 pipeline viewer with TES-related inform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Which instructions potentially open a </a:t>
            </a:r>
            <a:r>
              <a:rPr lang="en-US" sz="3000" b="1" dirty="0">
                <a:solidFill>
                  <a:schemeClr val="tx2"/>
                </a:solidFill>
              </a:rPr>
              <a:t>transient wind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Which instructions are </a:t>
            </a:r>
            <a:r>
              <a:rPr lang="en-US" sz="3000" b="1" dirty="0">
                <a:solidFill>
                  <a:schemeClr val="tx2"/>
                </a:solidFill>
              </a:rPr>
              <a:t>blocked</a:t>
            </a:r>
            <a:r>
              <a:rPr lang="en-US" sz="3000" dirty="0"/>
              <a:t> by the mitigations</a:t>
            </a:r>
          </a:p>
        </p:txBody>
      </p:sp>
    </p:spTree>
    <p:extLst>
      <p:ext uri="{BB962C8B-B14F-4D97-AF65-F5344CB8AC3E}">
        <p14:creationId xmlns:p14="http://schemas.microsoft.com/office/powerpoint/2010/main" val="18965895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FFA41-249F-69E6-388D-DB15EAC6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01676"/>
          </a:xfrm>
        </p:spPr>
        <p:txBody>
          <a:bodyPr/>
          <a:lstStyle/>
          <a:p>
            <a:r>
              <a:rPr lang="en-US" sz="3600" dirty="0"/>
              <a:t>Specul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E0DE2D-887A-08BB-6164-1BA59B7B67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A73456F-95F3-7D49-330A-A6C6BC6C6E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What can cause instructions to be under speculation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Control-Fl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Exce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Memory Dependenc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Memory Orderi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2428F55-A13B-9283-82BC-86EFB538F893}"/>
              </a:ext>
            </a:extLst>
          </p:cNvPr>
          <p:cNvSpPr txBox="1"/>
          <p:nvPr/>
        </p:nvSpPr>
        <p:spPr>
          <a:xfrm>
            <a:off x="320799" y="5101808"/>
            <a:ext cx="11550401" cy="669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Wingdings" panose="05000000000000000000" pitchFamily="2" charset="2"/>
              </a:rPr>
              <a:t> 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Common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property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used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by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almost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all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hardware</a:t>
            </a:r>
            <a:r>
              <a:rPr lang="de-DE" sz="3000" b="1" cap="none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b="1" cap="none" dirty="0" err="1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mitigations</a:t>
            </a:r>
            <a:endParaRPr lang="de-DE" sz="3000" b="1" cap="none" dirty="0">
              <a:solidFill>
                <a:schemeClr val="tx2"/>
              </a:solidFill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471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8CE722-345D-B753-A6A9-10858D31D2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B0BCBB-43C2-CFBA-9E48-DDC9BFF32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01676"/>
          </a:xfrm>
        </p:spPr>
        <p:txBody>
          <a:bodyPr/>
          <a:lstStyle/>
          <a:p>
            <a:r>
              <a:rPr lang="en-US" sz="3600" dirty="0"/>
              <a:t>Specul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EADDE9-F48F-A7CF-8E20-31BD86C6C3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68F68E-E588-B7FD-8755-AEA82ECCB6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Speculative Shadows [</a:t>
            </a:r>
            <a:r>
              <a:rPr lang="en-US" sz="3000" dirty="0" err="1"/>
              <a:t>Sakalis</a:t>
            </a:r>
            <a:r>
              <a:rPr lang="en-US" sz="3000" dirty="0"/>
              <a:t> et al.]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Unresolved speculation “casts a shadow” on younger instructions in the RO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Mark instructions as </a:t>
            </a:r>
            <a:r>
              <a:rPr lang="en-US" sz="3000" b="1" dirty="0">
                <a:solidFill>
                  <a:schemeClr val="accent4"/>
                </a:solidFill>
              </a:rPr>
              <a:t>shadow-casting </a:t>
            </a:r>
            <a:r>
              <a:rPr lang="en-US" sz="3000" dirty="0"/>
              <a:t>upon insertion</a:t>
            </a:r>
            <a:endParaRPr lang="en-US" sz="3000" b="1" dirty="0">
              <a:solidFill>
                <a:schemeClr val="accent4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Regularly check shadow-casting instructions and </a:t>
            </a:r>
            <a:r>
              <a:rPr lang="en-US" sz="3000" b="1" dirty="0">
                <a:solidFill>
                  <a:schemeClr val="bg2"/>
                </a:solidFill>
              </a:rPr>
              <a:t>resolve shadow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2FD1AF6-C2A7-34BC-66C0-B58AADE75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966" y="5180226"/>
            <a:ext cx="9870068" cy="34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057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AB57BA-302A-3278-5EA5-F8EFC1C29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06A7AA-B063-D781-36C4-AC08D97F1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 err="1"/>
              <a:t>SecureView</a:t>
            </a:r>
            <a:endParaRPr lang="en-US" sz="3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9EBA6C3-256F-380B-9346-CD3E2177C5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BC7491-BDF5-760A-5048-97A0214EFA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8" y="1620000"/>
            <a:ext cx="11302045" cy="44447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Create an additional line for security inform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The example snippet shows a </a:t>
            </a:r>
            <a:r>
              <a:rPr lang="en-US" sz="3000" b="1" dirty="0">
                <a:solidFill>
                  <a:schemeClr val="accent4"/>
                </a:solidFill>
              </a:rPr>
              <a:t>C</a:t>
            </a:r>
            <a:r>
              <a:rPr lang="en-US" sz="3000" dirty="0"/>
              <a:t>asting instruction and when it is </a:t>
            </a:r>
            <a:r>
              <a:rPr lang="en-US" sz="3000" b="1" dirty="0">
                <a:solidFill>
                  <a:schemeClr val="bg2"/>
                </a:solidFill>
              </a:rPr>
              <a:t>R</a:t>
            </a:r>
            <a:r>
              <a:rPr lang="en-US" sz="3000" dirty="0"/>
              <a:t>esolved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Visualize when succeeding instructions are considered </a:t>
            </a:r>
            <a:r>
              <a:rPr lang="en-US" sz="3000" b="1" dirty="0">
                <a:solidFill>
                  <a:schemeClr val="accent4"/>
                </a:solidFill>
              </a:rPr>
              <a:t>unsecure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8848437-AEAE-17B0-1BE9-D8267D45987D}"/>
              </a:ext>
            </a:extLst>
          </p:cNvPr>
          <p:cNvGrpSpPr/>
          <p:nvPr/>
        </p:nvGrpSpPr>
        <p:grpSpPr>
          <a:xfrm>
            <a:off x="-2213700" y="3429000"/>
            <a:ext cx="12715356" cy="926975"/>
            <a:chOff x="-2264500" y="4311023"/>
            <a:chExt cx="12715356" cy="926975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AD7C526-B527-77A9-1274-73D862373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741" r="86540"/>
            <a:stretch/>
          </p:blipFill>
          <p:spPr>
            <a:xfrm>
              <a:off x="-2264500" y="4311023"/>
              <a:ext cx="7559156" cy="92697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039A7D6-A5D8-1C7D-BE3E-273A38AD6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660" r="31104"/>
            <a:stretch/>
          </p:blipFill>
          <p:spPr>
            <a:xfrm>
              <a:off x="5294656" y="4311023"/>
              <a:ext cx="5156200" cy="9269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900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C0EA7-EA27-9AE6-0883-75A2A8A5A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EBB730-1614-430F-61EB-B2DD72284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4E542FE-1284-BD6F-BCDC-A3A5D37A87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13F485C-C41A-8824-1EE6-A5257030115B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Eager Delay [</a:t>
            </a:r>
            <a:r>
              <a:rPr lang="en-US" sz="2800" dirty="0" err="1">
                <a:solidFill>
                  <a:srgbClr val="FFFFFF"/>
                </a:solidFill>
                <a:latin typeface="Red Hat Text" panose="02010303040201060303"/>
              </a:rPr>
              <a:t>Sakalis</a:t>
            </a:r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D8C6B1F-96B3-9C92-CBF3-57B04919BA75}"/>
              </a:ext>
            </a:extLst>
          </p:cNvPr>
          <p:cNvSpPr/>
          <p:nvPr/>
        </p:nvSpPr>
        <p:spPr>
          <a:xfrm>
            <a:off x="539998" y="2957214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Speculative Taint Tracking (STT) [Yu et al.]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4631D8D3-5F12-4A61-A32F-48D77C48DEFF}"/>
              </a:ext>
            </a:extLst>
          </p:cNvPr>
          <p:cNvSpPr/>
          <p:nvPr/>
        </p:nvSpPr>
        <p:spPr>
          <a:xfrm>
            <a:off x="539998" y="4111386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Okapi [Schmitz et al.]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7C28D45-BA0F-27CA-B4EE-0E25D64E5F32}"/>
              </a:ext>
            </a:extLst>
          </p:cNvPr>
          <p:cNvSpPr/>
          <p:nvPr/>
        </p:nvSpPr>
        <p:spPr>
          <a:xfrm>
            <a:off x="1061156" y="7134108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Delay 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ll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speculative load (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) instructions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2879769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3ACD3-00E0-7CA0-3462-7FDD46470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A63B1-601E-7A33-6D7E-75808F963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BE0341F-775E-217D-F8B5-5FFCFB4537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343A1195-52A5-7D8B-5430-8DE2D537601A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Eager Delay [</a:t>
            </a:r>
            <a:r>
              <a:rPr lang="en-US" sz="2800" dirty="0" err="1">
                <a:solidFill>
                  <a:srgbClr val="FFFFFF"/>
                </a:solidFill>
                <a:latin typeface="Red Hat Text" panose="02010303040201060303"/>
              </a:rPr>
              <a:t>Sakalis</a:t>
            </a:r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C63AC741-5171-5B93-B772-5B2991961EC0}"/>
              </a:ext>
            </a:extLst>
          </p:cNvPr>
          <p:cNvSpPr/>
          <p:nvPr/>
        </p:nvSpPr>
        <p:spPr>
          <a:xfrm>
            <a:off x="1061156" y="2957214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Delay 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ll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speculative load (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) instructions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338985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FFA41-249F-69E6-388D-DB15EAC6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Eager Dela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E0DE2D-887A-08BB-6164-1BA59B7B67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8E8292D-2DBD-2204-B3B4-626AB3EA3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93464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Mark loads as unsecure upon insertion in the ROB if there is an older shadowing instruction and unmark them when all older shadows are resolv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b="1" dirty="0">
                <a:solidFill>
                  <a:srgbClr val="002060"/>
                </a:solidFill>
              </a:rPr>
              <a:t>B</a:t>
            </a:r>
            <a:r>
              <a:rPr lang="en-US" sz="3000" dirty="0"/>
              <a:t>lock loads immediately before going to the TLB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b="1" dirty="0">
                <a:solidFill>
                  <a:schemeClr val="accent4"/>
                </a:solidFill>
              </a:rPr>
              <a:t>R</a:t>
            </a:r>
            <a:r>
              <a:rPr lang="en-US" sz="3000" dirty="0"/>
              <a:t>eschedule blocked loads that are no longer shadowed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98C0D3E-93A1-3073-2681-3FA78AFFE054}"/>
              </a:ext>
            </a:extLst>
          </p:cNvPr>
          <p:cNvGrpSpPr>
            <a:grpSpLocks noChangeAspect="1"/>
          </p:cNvGrpSpPr>
          <p:nvPr/>
        </p:nvGrpSpPr>
        <p:grpSpPr>
          <a:xfrm>
            <a:off x="2480213" y="4564752"/>
            <a:ext cx="7279572" cy="1484382"/>
            <a:chOff x="1200150" y="4713218"/>
            <a:chExt cx="3409950" cy="695325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ED16C79-8C9E-AB69-EE24-9C6453B53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798"/>
            <a:stretch/>
          </p:blipFill>
          <p:spPr>
            <a:xfrm>
              <a:off x="1200150" y="4713218"/>
              <a:ext cx="1390650" cy="695325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944E31CA-CAB8-BBDB-120B-6E6BA54D5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870" r="29507"/>
            <a:stretch/>
          </p:blipFill>
          <p:spPr>
            <a:xfrm>
              <a:off x="2590800" y="4713218"/>
              <a:ext cx="2019300" cy="6953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1933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2BF0B-E277-FC5C-5500-F7D3BEDB7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29600-5DAF-C3BE-3B15-E090EC00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29165-4C97-9BFB-5C8A-2A4C0C30BB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881795A-A724-5DD5-ACC4-A3EA385F0327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Eager Delay [</a:t>
            </a:r>
            <a:r>
              <a:rPr lang="en-US" sz="2800" dirty="0" err="1">
                <a:solidFill>
                  <a:srgbClr val="FFFFFF"/>
                </a:solidFill>
                <a:latin typeface="Red Hat Text" panose="02010303040201060303"/>
              </a:rPr>
              <a:t>Sakalis</a:t>
            </a:r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85FEF28-64ED-F8A4-3D8E-368F28256137}"/>
              </a:ext>
            </a:extLst>
          </p:cNvPr>
          <p:cNvSpPr/>
          <p:nvPr/>
        </p:nvSpPr>
        <p:spPr>
          <a:xfrm>
            <a:off x="539998" y="2957214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Speculative Taint Tracking (STT) [Yu et al.]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6077E40-F909-0D1C-A5EA-CBD532D37717}"/>
              </a:ext>
            </a:extLst>
          </p:cNvPr>
          <p:cNvSpPr/>
          <p:nvPr/>
        </p:nvSpPr>
        <p:spPr>
          <a:xfrm>
            <a:off x="539998" y="4111386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Okapi [Schmitz et al.]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0B59460A-C715-45E3-0DE9-F3E1573AF795}"/>
              </a:ext>
            </a:extLst>
          </p:cNvPr>
          <p:cNvSpPr/>
          <p:nvPr/>
        </p:nvSpPr>
        <p:spPr>
          <a:xfrm>
            <a:off x="1061156" y="7134108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Delay 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ll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speculative load (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) instructions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CE6A471-F2AF-29AE-DF56-CA5427CFCDA2}"/>
              </a:ext>
            </a:extLst>
          </p:cNvPr>
          <p:cNvSpPr/>
          <p:nvPr/>
        </p:nvSpPr>
        <p:spPr>
          <a:xfrm>
            <a:off x="1061155" y="7475473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</a:t>
            </a:r>
            <a:r>
              <a:rPr lang="en-US" sz="2800" b="1" dirty="0">
                <a:solidFill>
                  <a:srgbClr val="FFC000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instructions initiate a </a:t>
            </a:r>
            <a:r>
              <a:rPr lang="en-US" sz="2800" b="1" dirty="0">
                <a:solidFill>
                  <a:schemeClr val="tx1"/>
                </a:solidFill>
                <a:latin typeface="Red Hat Text" panose="02010303040201060303"/>
              </a:rPr>
              <a:t>taint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bit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1095590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A1EAA-F652-BBCD-F979-92278E159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26645D-FA08-C0A0-BDCC-37655D63F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F43212-3D29-03F9-D17E-F21467CB11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6B5709F-FEA2-A6B9-BA72-DD495882A0F6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Speculative Taint Tracking (STT) [Yu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6576016-BAD8-C9A3-313E-59A8F89A135C}"/>
              </a:ext>
            </a:extLst>
          </p:cNvPr>
          <p:cNvSpPr/>
          <p:nvPr/>
        </p:nvSpPr>
        <p:spPr>
          <a:xfrm>
            <a:off x="1061156" y="2957214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</a:t>
            </a:r>
            <a:r>
              <a:rPr lang="en-US" sz="2800" b="1" dirty="0">
                <a:solidFill>
                  <a:srgbClr val="FFC000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instructions initiate a </a:t>
            </a:r>
            <a:r>
              <a:rPr lang="en-US" sz="2800" b="1" dirty="0">
                <a:solidFill>
                  <a:schemeClr val="tx1"/>
                </a:solidFill>
                <a:latin typeface="Red Hat Text" panose="02010303040201060303"/>
              </a:rPr>
              <a:t>taint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bit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655FEC8-B23D-4344-1939-D0BCB59CE3BB}"/>
              </a:ext>
            </a:extLst>
          </p:cNvPr>
          <p:cNvSpPr/>
          <p:nvPr/>
        </p:nvSpPr>
        <p:spPr>
          <a:xfrm>
            <a:off x="1061155" y="4111386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tainted </a:t>
            </a:r>
            <a:r>
              <a:rPr lang="en-US" sz="2800" b="1" dirty="0">
                <a:solidFill>
                  <a:schemeClr val="accent5"/>
                </a:solidFill>
                <a:latin typeface="Red Hat Text" panose="02010303040201060303"/>
              </a:rPr>
              <a:t>transmit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instructions are blocked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B98FDD5-F09A-597C-D8EE-FFA2B3037AA8}"/>
              </a:ext>
            </a:extLst>
          </p:cNvPr>
          <p:cNvSpPr/>
          <p:nvPr/>
        </p:nvSpPr>
        <p:spPr>
          <a:xfrm>
            <a:off x="1061155" y="5166897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Resolve taints when the youngest root of taint is non-speculative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1140658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F1160F1-9864-22E4-3555-48C4B401BB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799" y="179175"/>
            <a:ext cx="4059946" cy="378928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626959F-3FCE-3445-D048-0FB3901B4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323" y="3652161"/>
            <a:ext cx="6270334" cy="30266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C4D021C-5E1C-B6EA-C3A4-F23F4EEDD0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3729" y="358403"/>
            <a:ext cx="6909831" cy="244738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D313691-743B-AF54-8C56-4A64CC5839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368" y="2936549"/>
            <a:ext cx="5208715" cy="356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4470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20A1B-27EE-46AB-8BFB-9A1AE7B03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232CBB-5E76-D2B7-EC83-C2BE96F9D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ST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69FA2C5-EF2C-F1E5-03AE-08998AF032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A6F7D83-A558-90FE-D7DF-067BB384A6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93464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Mark initialized </a:t>
            </a:r>
            <a:r>
              <a:rPr lang="en-US" sz="3000" b="1" dirty="0">
                <a:solidFill>
                  <a:schemeClr val="accent6"/>
                </a:solidFill>
              </a:rPr>
              <a:t>T</a:t>
            </a:r>
            <a:r>
              <a:rPr lang="en-US" sz="3000" dirty="0"/>
              <a:t>ai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b="1" dirty="0">
                <a:solidFill>
                  <a:srgbClr val="002060"/>
                </a:solidFill>
              </a:rPr>
              <a:t>B</a:t>
            </a:r>
            <a:r>
              <a:rPr lang="en-US" sz="3000" dirty="0"/>
              <a:t>lock tainted transmitters and display the </a:t>
            </a:r>
            <a:r>
              <a:rPr lang="en-US" sz="3000" b="1" dirty="0" err="1">
                <a:solidFill>
                  <a:schemeClr val="accent6"/>
                </a:solidFill>
              </a:rPr>
              <a:t>YRoT</a:t>
            </a:r>
            <a:r>
              <a:rPr lang="en-US" sz="3000" b="1" dirty="0">
                <a:solidFill>
                  <a:schemeClr val="accent6"/>
                </a:solidFill>
              </a:rPr>
              <a:t> </a:t>
            </a:r>
            <a:r>
              <a:rPr lang="en-US" sz="3000" dirty="0"/>
              <a:t>sequence number</a:t>
            </a:r>
            <a:endParaRPr lang="en-US" sz="3000" b="1" dirty="0">
              <a:solidFill>
                <a:schemeClr val="accent6"/>
              </a:solidFill>
            </a:endParaRPr>
          </a:p>
        </p:txBody>
      </p:sp>
      <p:pic>
        <p:nvPicPr>
          <p:cNvPr id="11" name="Grafik 10" descr="Ein Bild, das Text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16C56936-859E-159F-A9B6-D664E4FF32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70" t="22492" r="93" b="32680"/>
          <a:stretch>
            <a:fillRect/>
          </a:stretch>
        </p:blipFill>
        <p:spPr>
          <a:xfrm>
            <a:off x="335627" y="3827998"/>
            <a:ext cx="11520745" cy="1410002"/>
          </a:xfrm>
          <a:prstGeom prst="rect">
            <a:avLst/>
          </a:prstGeom>
        </p:spPr>
      </p:pic>
      <p:sp>
        <p:nvSpPr>
          <p:cNvPr id="14" name="Ellipse 13">
            <a:extLst>
              <a:ext uri="{FF2B5EF4-FFF2-40B4-BE49-F238E27FC236}">
                <a16:creationId xmlns:a16="http://schemas.microsoft.com/office/drawing/2014/main" id="{D0768ECA-3E12-1502-1CDC-CA03FD1DC11A}"/>
              </a:ext>
            </a:extLst>
          </p:cNvPr>
          <p:cNvSpPr/>
          <p:nvPr/>
        </p:nvSpPr>
        <p:spPr>
          <a:xfrm>
            <a:off x="7687731" y="4753332"/>
            <a:ext cx="587024" cy="372534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33255A23-B52C-5D4E-D2AB-BED0AAC055EA}"/>
              </a:ext>
            </a:extLst>
          </p:cNvPr>
          <p:cNvSpPr/>
          <p:nvPr/>
        </p:nvSpPr>
        <p:spPr>
          <a:xfrm>
            <a:off x="7016040" y="4205817"/>
            <a:ext cx="587024" cy="372534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6A402709-1260-4BE9-E4A3-1279BD160E00}"/>
              </a:ext>
            </a:extLst>
          </p:cNvPr>
          <p:cNvSpPr/>
          <p:nvPr/>
        </p:nvSpPr>
        <p:spPr>
          <a:xfrm>
            <a:off x="8077200" y="4194529"/>
            <a:ext cx="587024" cy="372534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F547212-565B-82F4-D034-01A3D20DABD8}"/>
              </a:ext>
            </a:extLst>
          </p:cNvPr>
          <p:cNvSpPr/>
          <p:nvPr/>
        </p:nvSpPr>
        <p:spPr>
          <a:xfrm>
            <a:off x="6778973" y="3731689"/>
            <a:ext cx="587024" cy="372534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085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60021-BBB8-E908-40F0-D75A73286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833EDF-2F73-84F1-971A-CAACBD2B6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FFF1B58-666A-F77D-0A68-36303FCDBC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1B091FC-022D-F861-07E2-C2E83D002926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Eager Delay [</a:t>
            </a:r>
            <a:r>
              <a:rPr lang="en-US" sz="2800" dirty="0" err="1">
                <a:solidFill>
                  <a:srgbClr val="FFFFFF"/>
                </a:solidFill>
                <a:latin typeface="Red Hat Text" panose="02010303040201060303"/>
              </a:rPr>
              <a:t>Sakalis</a:t>
            </a:r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7E3E94C-219D-E57A-B8AA-81F1CF39A25C}"/>
              </a:ext>
            </a:extLst>
          </p:cNvPr>
          <p:cNvSpPr/>
          <p:nvPr/>
        </p:nvSpPr>
        <p:spPr>
          <a:xfrm>
            <a:off x="539998" y="2957214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Speculative Taint Tracking (STT) [Yu et al.]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00E8CCD8-DD3F-F815-7AE0-C2B6995B4352}"/>
              </a:ext>
            </a:extLst>
          </p:cNvPr>
          <p:cNvSpPr/>
          <p:nvPr/>
        </p:nvSpPr>
        <p:spPr>
          <a:xfrm>
            <a:off x="539998" y="4111386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Okapi [Schmitz et al.]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2AF1375-0B00-FA41-605E-76FFCD7A5C84}"/>
              </a:ext>
            </a:extLst>
          </p:cNvPr>
          <p:cNvSpPr/>
          <p:nvPr/>
        </p:nvSpPr>
        <p:spPr>
          <a:xfrm>
            <a:off x="1061156" y="7134108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Delay 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ll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speculative load (</a:t>
            </a:r>
            <a:r>
              <a:rPr lang="en-US" sz="2800" b="1" dirty="0">
                <a:solidFill>
                  <a:schemeClr val="accent6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) instructions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6EB30E3-B226-A30F-75A6-D8B2586A0F0D}"/>
              </a:ext>
            </a:extLst>
          </p:cNvPr>
          <p:cNvSpPr/>
          <p:nvPr/>
        </p:nvSpPr>
        <p:spPr>
          <a:xfrm>
            <a:off x="1061155" y="7475473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Loading from a data page enables a safe access bit (SAB)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3DD76C29-925B-AD8F-13BA-88CA5A275BC4}"/>
              </a:ext>
            </a:extLst>
          </p:cNvPr>
          <p:cNvSpPr/>
          <p:nvPr/>
        </p:nvSpPr>
        <p:spPr>
          <a:xfrm>
            <a:off x="1061156" y="8850017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</a:t>
            </a:r>
            <a:r>
              <a:rPr lang="en-US" sz="2800" b="1" dirty="0">
                <a:solidFill>
                  <a:srgbClr val="FFC000"/>
                </a:solidFill>
                <a:latin typeface="Red Hat Text" panose="02010303040201060303"/>
              </a:rPr>
              <a:t>access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instructions initiate a </a:t>
            </a:r>
            <a:r>
              <a:rPr lang="en-US" sz="2800" b="1" dirty="0">
                <a:solidFill>
                  <a:schemeClr val="tx1"/>
                </a:solidFill>
                <a:latin typeface="Red Hat Text" panose="02010303040201060303"/>
              </a:rPr>
              <a:t>taint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bit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2573508-6FFC-F236-EB9A-B59B18DC9784}"/>
              </a:ext>
            </a:extLst>
          </p:cNvPr>
          <p:cNvSpPr/>
          <p:nvPr/>
        </p:nvSpPr>
        <p:spPr>
          <a:xfrm>
            <a:off x="1061155" y="10004189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tainted </a:t>
            </a:r>
            <a:r>
              <a:rPr lang="en-US" sz="2800" b="1" dirty="0">
                <a:solidFill>
                  <a:schemeClr val="accent5"/>
                </a:solidFill>
                <a:latin typeface="Red Hat Text" panose="02010303040201060303"/>
              </a:rPr>
              <a:t>transmit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 instructions are blocked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F92DBFAB-7896-7033-D781-6E14A4C2674D}"/>
              </a:ext>
            </a:extLst>
          </p:cNvPr>
          <p:cNvSpPr/>
          <p:nvPr/>
        </p:nvSpPr>
        <p:spPr>
          <a:xfrm>
            <a:off x="1061155" y="11059700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Resolve taints when the youngest root of taint is non-speculative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2679431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A5660-D1E1-66DA-6F17-F26AA6550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E41BBC-4942-B9EB-AE07-1B0053757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8BE9CFD-E58C-AF62-1BC8-2324C0D813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DC208CE5-2E57-61C4-CB34-073F333DBD6D}"/>
              </a:ext>
            </a:extLst>
          </p:cNvPr>
          <p:cNvSpPr/>
          <p:nvPr/>
        </p:nvSpPr>
        <p:spPr>
          <a:xfrm>
            <a:off x="539998" y="1803042"/>
            <a:ext cx="11159999" cy="78561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Okapi [Schmitz et al.]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7484AE0-37C7-CABB-178B-A5671A0B4B2F}"/>
              </a:ext>
            </a:extLst>
          </p:cNvPr>
          <p:cNvSpPr/>
          <p:nvPr/>
        </p:nvSpPr>
        <p:spPr>
          <a:xfrm>
            <a:off x="1061156" y="2957214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Loading from a data page enables a safe access bit (SAB)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DAD98AD-E9FD-8B24-067B-E701CA155BD5}"/>
              </a:ext>
            </a:extLst>
          </p:cNvPr>
          <p:cNvSpPr/>
          <p:nvPr/>
        </p:nvSpPr>
        <p:spPr>
          <a:xfrm>
            <a:off x="1061155" y="4111386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loads targeting pages with a set SAB are permitted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40704D6-5068-BB52-D429-7BE57D49D3FC}"/>
              </a:ext>
            </a:extLst>
          </p:cNvPr>
          <p:cNvSpPr/>
          <p:nvPr/>
        </p:nvSpPr>
        <p:spPr>
          <a:xfrm>
            <a:off x="1061155" y="5166897"/>
            <a:ext cx="10638841" cy="785612"/>
          </a:xfrm>
          <a:prstGeom prst="round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2800" dirty="0">
                <a:solidFill>
                  <a:srgbClr val="FFFFFF"/>
                </a:solidFill>
                <a:latin typeface="Red Hat Text" panose="02010303040201060303"/>
              </a:rPr>
              <a:t>   </a:t>
            </a:r>
            <a:r>
              <a:rPr lang="en-US" sz="2800" dirty="0">
                <a:solidFill>
                  <a:srgbClr val="282827"/>
                </a:solidFill>
                <a:latin typeface="Red Hat Text" panose="02010303040201060303"/>
              </a:rPr>
              <a:t>Speculative loads without SAB are blocked</a:t>
            </a:r>
            <a:endParaRPr lang="en-US" sz="2800" dirty="0">
              <a:solidFill>
                <a:srgbClr val="FFFFFF"/>
              </a:solidFill>
              <a:latin typeface="Red Hat Text" panose="02010303040201060303"/>
            </a:endParaRPr>
          </a:p>
        </p:txBody>
      </p:sp>
    </p:spTree>
    <p:extLst>
      <p:ext uri="{BB962C8B-B14F-4D97-AF65-F5344CB8AC3E}">
        <p14:creationId xmlns:p14="http://schemas.microsoft.com/office/powerpoint/2010/main" val="1575780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6749F-A05E-A186-C5C4-F2C86051ED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C099FB-9266-D685-5B98-7208E7A15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Thwarting an example Attac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D55B05-5F4E-3169-6F5F-8C368C71CD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EADBA9CE-37C9-3897-1FB6-E4A797663B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67" r="7628"/>
          <a:stretch>
            <a:fillRect/>
          </a:stretch>
        </p:blipFill>
        <p:spPr>
          <a:xfrm>
            <a:off x="826953" y="2747436"/>
            <a:ext cx="10538094" cy="1879270"/>
          </a:xfr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0A9DE96A-E66E-E954-58CF-2DB20AF6F55D}"/>
              </a:ext>
            </a:extLst>
          </p:cNvPr>
          <p:cNvSpPr/>
          <p:nvPr/>
        </p:nvSpPr>
        <p:spPr>
          <a:xfrm>
            <a:off x="1303862" y="3912311"/>
            <a:ext cx="587024" cy="372534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213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6A7AE-7D62-E8A9-2AF0-E50956049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C4DCC2-9C90-9175-F21B-7DB539CDC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Thwarting an example Attac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3B2E691-4606-36EA-EB3F-C3C587938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4</a:t>
            </a:fld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BF15C29-32C5-B0A0-BBE4-B354179DCE39}"/>
              </a:ext>
            </a:extLst>
          </p:cNvPr>
          <p:cNvGrpSpPr>
            <a:grpSpLocks noChangeAspect="1"/>
          </p:cNvGrpSpPr>
          <p:nvPr/>
        </p:nvGrpSpPr>
        <p:grpSpPr>
          <a:xfrm>
            <a:off x="360233" y="2824333"/>
            <a:ext cx="11516141" cy="1363844"/>
            <a:chOff x="1140177" y="5181841"/>
            <a:chExt cx="8705155" cy="1030942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D25F5582-7ED7-5AC8-A85C-4689968D7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52"/>
            <a:stretch>
              <a:fillRect/>
            </a:stretch>
          </p:blipFill>
          <p:spPr>
            <a:xfrm>
              <a:off x="1140177" y="5181842"/>
              <a:ext cx="3431823" cy="1030941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939E005-38CF-34FA-9E02-9701A23F5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340"/>
            <a:stretch>
              <a:fillRect/>
            </a:stretch>
          </p:blipFill>
          <p:spPr>
            <a:xfrm>
              <a:off x="4888089" y="5181841"/>
              <a:ext cx="4957243" cy="1030941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05F55F7B-50CD-1E7D-CA33-9BDC3B570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877" r="53530"/>
            <a:stretch>
              <a:fillRect/>
            </a:stretch>
          </p:blipFill>
          <p:spPr>
            <a:xfrm>
              <a:off x="4572000" y="5181841"/>
              <a:ext cx="316089" cy="1030941"/>
            </a:xfrm>
            <a:prstGeom prst="rect">
              <a:avLst/>
            </a:prstGeom>
          </p:spPr>
        </p:pic>
      </p:grpSp>
      <p:sp>
        <p:nvSpPr>
          <p:cNvPr id="7" name="Ellipse 6">
            <a:extLst>
              <a:ext uri="{FF2B5EF4-FFF2-40B4-BE49-F238E27FC236}">
                <a16:creationId xmlns:a16="http://schemas.microsoft.com/office/drawing/2014/main" id="{AE60BB43-5D6C-E785-479F-D4A02715EBF3}"/>
              </a:ext>
            </a:extLst>
          </p:cNvPr>
          <p:cNvSpPr/>
          <p:nvPr/>
        </p:nvSpPr>
        <p:spPr>
          <a:xfrm>
            <a:off x="719999" y="3668889"/>
            <a:ext cx="589511" cy="519287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981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468771-A00E-9E63-13A7-73A2CDA82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2089FA-730E-1027-20D6-A8B3AA6C1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Conclusion &amp; Future Wor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E49ECD-E3DC-9B90-E8EF-B6C9D881E2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56E81F0-3FC8-67F3-4FF9-23CE278355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93464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b="1" dirty="0">
                <a:solidFill>
                  <a:schemeClr val="tx2"/>
                </a:solidFill>
              </a:rPr>
              <a:t>Simple tool </a:t>
            </a:r>
            <a:r>
              <a:rPr lang="en-US" sz="3000" dirty="0"/>
              <a:t>for visualizing core aspects of a mitig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Helps analyzing the </a:t>
            </a:r>
            <a:r>
              <a:rPr lang="en-US" sz="3000" b="1" dirty="0">
                <a:solidFill>
                  <a:schemeClr val="tx2"/>
                </a:solidFill>
              </a:rPr>
              <a:t>details</a:t>
            </a:r>
            <a:r>
              <a:rPr lang="en-US" sz="3000" dirty="0"/>
              <a:t> of an attack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Display more detail for the intermediate tainting step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Find a new way to visualize the TLB or memory interface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4074169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1F93B-29E9-F2EB-751E-727EAC88A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88061D-5A77-75DB-9AC1-0CA839FD5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557397"/>
          </a:xfrm>
        </p:spPr>
        <p:txBody>
          <a:bodyPr/>
          <a:lstStyle/>
          <a:p>
            <a:r>
              <a:rPr lang="en-US" dirty="0"/>
              <a:t>Literatur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8A3753-B496-22CF-EFAD-B65BA765EE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9796C0F-2975-34A7-C541-22A73750D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93464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[Fu et al.] – </a:t>
            </a:r>
            <a:r>
              <a:rPr lang="de-DE" sz="1800" dirty="0"/>
              <a:t>B. Fu, L. Tenenbaum, D. Adler, A, Klein, A. Gogia, A. R. </a:t>
            </a:r>
            <a:r>
              <a:rPr lang="de-DE" sz="1800" dirty="0" err="1"/>
              <a:t>Alameldeen</a:t>
            </a:r>
            <a:r>
              <a:rPr lang="de-DE" sz="1800" dirty="0"/>
              <a:t>, M. Guarnieri, M. Silberstein, O. </a:t>
            </a:r>
            <a:r>
              <a:rPr lang="de-DE" sz="1800" dirty="0" err="1"/>
              <a:t>Oleksenko</a:t>
            </a:r>
            <a:r>
              <a:rPr lang="de-DE" sz="1800" dirty="0"/>
              <a:t>, and G. </a:t>
            </a:r>
            <a:r>
              <a:rPr lang="de-DE" sz="1800" dirty="0" err="1"/>
              <a:t>Saileshwar</a:t>
            </a:r>
            <a:r>
              <a:rPr lang="de-DE" sz="1800" dirty="0"/>
              <a:t>. 2025. </a:t>
            </a:r>
            <a:r>
              <a:rPr lang="de-DE" sz="1800" dirty="0" err="1"/>
              <a:t>AMuLeT</a:t>
            </a:r>
            <a:r>
              <a:rPr lang="de-DE" sz="1800" dirty="0"/>
              <a:t>: </a:t>
            </a:r>
            <a:r>
              <a:rPr lang="de-DE" sz="1800" dirty="0" err="1"/>
              <a:t>Automated</a:t>
            </a:r>
            <a:r>
              <a:rPr lang="de-DE" sz="1800" dirty="0"/>
              <a:t> Design-Time </a:t>
            </a:r>
            <a:r>
              <a:rPr lang="de-DE" sz="1800" dirty="0" err="1"/>
              <a:t>Testing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Secure </a:t>
            </a:r>
            <a:r>
              <a:rPr lang="de-DE" sz="1800" dirty="0" err="1"/>
              <a:t>Speculation</a:t>
            </a:r>
            <a:r>
              <a:rPr lang="de-DE" sz="1800" dirty="0"/>
              <a:t> </a:t>
            </a:r>
            <a:r>
              <a:rPr lang="de-DE" sz="1800" dirty="0" err="1"/>
              <a:t>Countermeasures</a:t>
            </a:r>
            <a:r>
              <a:rPr lang="de-DE" sz="1800" dirty="0"/>
              <a:t>. (ASPLOS '25)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[</a:t>
            </a:r>
            <a:r>
              <a:rPr lang="de-DE" sz="1800" dirty="0" err="1"/>
              <a:t>Sakalis</a:t>
            </a:r>
            <a:r>
              <a:rPr lang="de-DE" sz="1800" dirty="0"/>
              <a:t> et al.] – C. </a:t>
            </a:r>
            <a:r>
              <a:rPr lang="de-DE" sz="1800" dirty="0" err="1"/>
              <a:t>Sakalis</a:t>
            </a:r>
            <a:r>
              <a:rPr lang="de-DE" sz="1800" dirty="0"/>
              <a:t>, S. </a:t>
            </a:r>
            <a:r>
              <a:rPr lang="de-DE" sz="1800" dirty="0" err="1"/>
              <a:t>Kaxiras</a:t>
            </a:r>
            <a:r>
              <a:rPr lang="de-DE" sz="1800" dirty="0"/>
              <a:t>, A. Ros, A. </a:t>
            </a:r>
            <a:r>
              <a:rPr lang="de-DE" sz="1800" dirty="0" err="1"/>
              <a:t>Jimborean</a:t>
            </a:r>
            <a:r>
              <a:rPr lang="de-DE" sz="1800" dirty="0"/>
              <a:t>, and M. </a:t>
            </a:r>
            <a:r>
              <a:rPr lang="de-DE" sz="1800" dirty="0" err="1"/>
              <a:t>Själander</a:t>
            </a:r>
            <a:r>
              <a:rPr lang="de-DE" sz="1800" dirty="0"/>
              <a:t>. 2019. </a:t>
            </a:r>
            <a:r>
              <a:rPr lang="de-DE" sz="1800" dirty="0" err="1"/>
              <a:t>Efficient</a:t>
            </a:r>
            <a:r>
              <a:rPr lang="de-DE" sz="1800" dirty="0"/>
              <a:t> invisible </a:t>
            </a:r>
            <a:r>
              <a:rPr lang="de-DE" sz="1800" dirty="0" err="1"/>
              <a:t>speculative</a:t>
            </a:r>
            <a:r>
              <a:rPr lang="de-DE" sz="1800" dirty="0"/>
              <a:t> </a:t>
            </a:r>
            <a:r>
              <a:rPr lang="de-DE" sz="1800" dirty="0" err="1"/>
              <a:t>execution</a:t>
            </a:r>
            <a:r>
              <a:rPr lang="de-DE" sz="1800" dirty="0"/>
              <a:t> </a:t>
            </a:r>
            <a:r>
              <a:rPr lang="de-DE" sz="1800" dirty="0" err="1"/>
              <a:t>through</a:t>
            </a:r>
            <a:r>
              <a:rPr lang="de-DE" sz="1800" dirty="0"/>
              <a:t> </a:t>
            </a:r>
            <a:r>
              <a:rPr lang="de-DE" sz="1800" dirty="0" err="1"/>
              <a:t>selective</a:t>
            </a:r>
            <a:r>
              <a:rPr lang="de-DE" sz="1800" dirty="0"/>
              <a:t> </a:t>
            </a:r>
            <a:r>
              <a:rPr lang="de-DE" sz="1800" dirty="0" err="1"/>
              <a:t>delay</a:t>
            </a:r>
            <a:r>
              <a:rPr lang="de-DE" sz="1800" dirty="0"/>
              <a:t> and </a:t>
            </a:r>
            <a:r>
              <a:rPr lang="de-DE" sz="1800" dirty="0" err="1"/>
              <a:t>value</a:t>
            </a:r>
            <a:r>
              <a:rPr lang="de-DE" sz="1800" dirty="0"/>
              <a:t> </a:t>
            </a:r>
            <a:r>
              <a:rPr lang="de-DE" sz="1800" dirty="0" err="1"/>
              <a:t>prediction</a:t>
            </a:r>
            <a:r>
              <a:rPr lang="de-DE" sz="1800" dirty="0"/>
              <a:t>. (ISCA '19)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[</a:t>
            </a:r>
            <a:r>
              <a:rPr lang="de-DE" sz="1800" dirty="0" err="1"/>
              <a:t>Yu</a:t>
            </a:r>
            <a:r>
              <a:rPr lang="de-DE" sz="1800" dirty="0"/>
              <a:t> et al.] – J. </a:t>
            </a:r>
            <a:r>
              <a:rPr lang="de-DE" sz="1800" dirty="0" err="1"/>
              <a:t>Yu</a:t>
            </a:r>
            <a:r>
              <a:rPr lang="de-DE" sz="1800" dirty="0"/>
              <a:t>, M. Yan, A. </a:t>
            </a:r>
            <a:r>
              <a:rPr lang="de-DE" sz="1800" dirty="0" err="1"/>
              <a:t>Khyzha</a:t>
            </a:r>
            <a:r>
              <a:rPr lang="de-DE" sz="1800" dirty="0"/>
              <a:t>, A. Morrison, J. </a:t>
            </a:r>
            <a:r>
              <a:rPr lang="de-DE" sz="1800" dirty="0" err="1"/>
              <a:t>Torrellas</a:t>
            </a:r>
            <a:r>
              <a:rPr lang="de-DE" sz="1800" dirty="0"/>
              <a:t>, and C. W. Fletcher. 2019. </a:t>
            </a:r>
            <a:r>
              <a:rPr lang="de-DE" sz="1800" dirty="0" err="1"/>
              <a:t>Speculative</a:t>
            </a:r>
            <a:r>
              <a:rPr lang="de-DE" sz="1800" dirty="0"/>
              <a:t> </a:t>
            </a:r>
            <a:r>
              <a:rPr lang="de-DE" sz="1800" dirty="0" err="1"/>
              <a:t>Taint</a:t>
            </a:r>
            <a:r>
              <a:rPr lang="de-DE" sz="1800" dirty="0"/>
              <a:t> Tracking (STT): A </a:t>
            </a:r>
            <a:r>
              <a:rPr lang="de-DE" sz="1800" dirty="0" err="1"/>
              <a:t>Comprehensive</a:t>
            </a:r>
            <a:r>
              <a:rPr lang="de-DE" sz="1800" dirty="0"/>
              <a:t> </a:t>
            </a:r>
            <a:r>
              <a:rPr lang="de-DE" sz="1800" dirty="0" err="1"/>
              <a:t>Protection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Speculatively</a:t>
            </a:r>
            <a:r>
              <a:rPr lang="de-DE" sz="1800" dirty="0"/>
              <a:t> </a:t>
            </a:r>
            <a:r>
              <a:rPr lang="de-DE" sz="1800" dirty="0" err="1"/>
              <a:t>Accessed</a:t>
            </a:r>
            <a:r>
              <a:rPr lang="de-DE" sz="1800" dirty="0"/>
              <a:t> Data. (MICRO '19)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[Schmitz et al.] – P. Schmitz, T. Jauch, A. Wezel, M. R. </a:t>
            </a:r>
            <a:r>
              <a:rPr lang="de-DE" sz="1800" dirty="0" err="1"/>
              <a:t>Fadiheh</a:t>
            </a:r>
            <a:r>
              <a:rPr lang="de-DE" sz="1800" dirty="0"/>
              <a:t>, T. Tiemann, J. Heller, T. Eisenbarth, D. Stoffel and W. Kunz. 2025. </a:t>
            </a:r>
            <a:r>
              <a:rPr lang="en-US" sz="1800" dirty="0"/>
              <a:t>Okapi: Efficiently Safeguarding Speculative Data Accesses in Sandboxed Environments. (</a:t>
            </a:r>
            <a:r>
              <a:rPr lang="en-US" sz="1800" dirty="0" err="1"/>
              <a:t>AsiaCCS</a:t>
            </a:r>
            <a:r>
              <a:rPr lang="de-DE" sz="1800" dirty="0"/>
              <a:t>’</a:t>
            </a:r>
            <a:r>
              <a:rPr lang="en-US" sz="1800" dirty="0"/>
              <a:t>25) (to appear)</a:t>
            </a:r>
          </a:p>
        </p:txBody>
      </p:sp>
    </p:spTree>
    <p:extLst>
      <p:ext uri="{BB962C8B-B14F-4D97-AF65-F5344CB8AC3E}">
        <p14:creationId xmlns:p14="http://schemas.microsoft.com/office/powerpoint/2010/main" val="22051376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88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en-DE" sz="40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k you!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A80CBD2C-9F2E-118A-85A6-9356337E821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0000" y="4049713"/>
            <a:ext cx="4737100" cy="250825"/>
          </a:xfrm>
          <a:prstGeom prst="rect">
            <a:avLst/>
          </a:prstGeom>
          <a:noFill/>
        </p:spPr>
        <p:txBody>
          <a:bodyPr lIns="0" anchor="t"/>
          <a:lstStyle/>
          <a:p>
            <a:pPr marL="0" indent="0">
              <a:buNone/>
            </a:pPr>
            <a:r>
              <a:rPr kumimoji="0" lang="en-DE" sz="2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Questions?</a:t>
            </a:r>
            <a:endParaRPr lang="en-US" sz="2800" cap="none" dirty="0">
              <a:solidFill>
                <a:schemeClr val="bg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EFBBA45-155F-DF32-2F79-49E17A29E7ED}"/>
              </a:ext>
            </a:extLst>
          </p:cNvPr>
          <p:cNvSpPr/>
          <p:nvPr/>
        </p:nvSpPr>
        <p:spPr>
          <a:xfrm>
            <a:off x="539999" y="5883841"/>
            <a:ext cx="4043290" cy="250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kumimoji="0" lang="en-DE" sz="2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tact me at: </a:t>
            </a:r>
          </a:p>
          <a:p>
            <a:r>
              <a:rPr lang="de-DE" sz="2800" dirty="0" err="1">
                <a:solidFill>
                  <a:schemeClr val="bg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hilipp.schmitz@rptu</a:t>
            </a:r>
            <a:r>
              <a:rPr lang="en-DE" sz="2800" dirty="0">
                <a:solidFill>
                  <a:schemeClr val="bg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de</a:t>
            </a:r>
            <a:endParaRPr kumimoji="0" lang="en-DE" sz="28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8FC9D9D-89E9-0FC1-D009-E4CEA3D3C0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90578" y="5140505"/>
            <a:ext cx="1151216" cy="1158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52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FFA41-249F-69E6-388D-DB15EAC6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Background – Transient Execution Side Channel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E0DE2D-887A-08BB-6164-1BA59B7B67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A73456F-95F3-7D49-330A-A6C6BC6C6E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chemeClr val="accent5"/>
                </a:solidFill>
              </a:rPr>
              <a:t>Transient Execution Side Channel (TES) attacks </a:t>
            </a:r>
            <a:r>
              <a:rPr lang="en-US" sz="3000" dirty="0"/>
              <a:t>exploit side effects of instructions that are executed speculatively or out of order and later discarded due to mis-speculation or an excep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Although the architectural state is reverted afterwards, these instructions leave a </a:t>
            </a:r>
            <a:r>
              <a:rPr lang="en-US" sz="3000" dirty="0">
                <a:solidFill>
                  <a:schemeClr val="accent5"/>
                </a:solidFill>
              </a:rPr>
              <a:t>microarchitectural footprint </a:t>
            </a:r>
            <a:r>
              <a:rPr lang="en-US" sz="3000" dirty="0"/>
              <a:t>that can be used to reveal confidential data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1234435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444B7-A074-BE05-C5D8-0CCBDF158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44F1-D447-2B2D-04FB-6A1C1DBC5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Background – Transient Execution Side Channel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8BD4B85-78E8-04C2-3F88-9EA6073AD2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86B209E-026D-7D66-4F84-30A6A21ED27E}"/>
              </a:ext>
            </a:extLst>
          </p:cNvPr>
          <p:cNvSpPr txBox="1"/>
          <p:nvPr/>
        </p:nvSpPr>
        <p:spPr>
          <a:xfrm>
            <a:off x="1629295" y="2044931"/>
            <a:ext cx="6999316" cy="41064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A8287F1-5598-C46D-51C0-A3DC0D800CBC}"/>
              </a:ext>
            </a:extLst>
          </p:cNvPr>
          <p:cNvSpPr txBox="1"/>
          <p:nvPr/>
        </p:nvSpPr>
        <p:spPr>
          <a:xfrm>
            <a:off x="1097282" y="1712422"/>
            <a:ext cx="5902036" cy="3241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if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( x &lt; array1size) {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</a:t>
            </a:r>
            <a:r>
              <a:rPr lang="de-DE" sz="36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= array1[x];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y = array2[</a:t>
            </a: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* 256];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}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1B2E6CF-26FB-3D7F-FC86-1263AFD97E82}"/>
              </a:ext>
            </a:extLst>
          </p:cNvPr>
          <p:cNvSpPr/>
          <p:nvPr/>
        </p:nvSpPr>
        <p:spPr>
          <a:xfrm>
            <a:off x="8262852" y="1712422"/>
            <a:ext cx="2859578" cy="443899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8EB49C1-5C18-CDC9-600F-21D91071DC12}"/>
              </a:ext>
            </a:extLst>
          </p:cNvPr>
          <p:cNvSpPr txBox="1"/>
          <p:nvPr/>
        </p:nvSpPr>
        <p:spPr>
          <a:xfrm>
            <a:off x="8902932" y="6151418"/>
            <a:ext cx="5902036" cy="4438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Memory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C8C31FC-41E7-3912-56B0-05F12452FCDA}"/>
              </a:ext>
            </a:extLst>
          </p:cNvPr>
          <p:cNvSpPr/>
          <p:nvPr/>
        </p:nvSpPr>
        <p:spPr>
          <a:xfrm>
            <a:off x="8262852" y="1713807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1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AA352EC-587A-9BA1-C0B6-838849605F34}"/>
              </a:ext>
            </a:extLst>
          </p:cNvPr>
          <p:cNvSpPr/>
          <p:nvPr/>
        </p:nvSpPr>
        <p:spPr>
          <a:xfrm>
            <a:off x="8262852" y="2926972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 err="1">
                <a:solidFill>
                  <a:schemeClr val="tx1"/>
                </a:solidFill>
              </a:rPr>
              <a:t>secret</a:t>
            </a:r>
            <a:endParaRPr lang="de-DE" sz="30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D963ECA-63F7-D929-4551-2A52D73D7215}"/>
              </a:ext>
            </a:extLst>
          </p:cNvPr>
          <p:cNvSpPr/>
          <p:nvPr/>
        </p:nvSpPr>
        <p:spPr>
          <a:xfrm>
            <a:off x="8262852" y="4140137"/>
            <a:ext cx="2859578" cy="201128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2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8E1A719-964B-8CD2-1963-4D5C36002EC2}"/>
              </a:ext>
            </a:extLst>
          </p:cNvPr>
          <p:cNvCxnSpPr>
            <a:cxnSpLocks/>
          </p:cNvCxnSpPr>
          <p:nvPr/>
        </p:nvCxnSpPr>
        <p:spPr>
          <a:xfrm flipH="1">
            <a:off x="6375534" y="2011680"/>
            <a:ext cx="956292" cy="0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6547956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A57BC-41D1-4E84-3D7D-19316AC90A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7BE7B5-C1AE-34EB-A102-460D0D31F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Background – Transient Execution Side Channel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F6F97FC-A9F4-E98C-6B38-B1833E648E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E221EAE-59B3-7694-796B-FED708AB5541}"/>
              </a:ext>
            </a:extLst>
          </p:cNvPr>
          <p:cNvSpPr txBox="1"/>
          <p:nvPr/>
        </p:nvSpPr>
        <p:spPr>
          <a:xfrm>
            <a:off x="1629295" y="2044931"/>
            <a:ext cx="6999316" cy="41064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629863B-3B72-D589-35B8-9967FD168B70}"/>
              </a:ext>
            </a:extLst>
          </p:cNvPr>
          <p:cNvSpPr txBox="1"/>
          <p:nvPr/>
        </p:nvSpPr>
        <p:spPr>
          <a:xfrm>
            <a:off x="1097282" y="1712422"/>
            <a:ext cx="5902036" cy="3241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if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( x &lt; array1size) {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</a:t>
            </a:r>
            <a:r>
              <a:rPr lang="de-DE" sz="36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= array1[x];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y = array2[</a:t>
            </a: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* 256];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}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3600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9C5D98E-EFA8-071D-5FB2-47408B9F3EF5}"/>
              </a:ext>
            </a:extLst>
          </p:cNvPr>
          <p:cNvSpPr/>
          <p:nvPr/>
        </p:nvSpPr>
        <p:spPr>
          <a:xfrm>
            <a:off x="8262852" y="1712422"/>
            <a:ext cx="2859578" cy="443899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927F0ED-41FA-B9C6-1A45-C0134F74734F}"/>
              </a:ext>
            </a:extLst>
          </p:cNvPr>
          <p:cNvSpPr txBox="1"/>
          <p:nvPr/>
        </p:nvSpPr>
        <p:spPr>
          <a:xfrm>
            <a:off x="8902932" y="6151418"/>
            <a:ext cx="5902036" cy="4438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Memory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1814679-5FC4-B2A9-8504-E3DF77ED666D}"/>
              </a:ext>
            </a:extLst>
          </p:cNvPr>
          <p:cNvSpPr/>
          <p:nvPr/>
        </p:nvSpPr>
        <p:spPr>
          <a:xfrm>
            <a:off x="8262852" y="1713807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1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20DFC53-4E1E-D7C1-AA5A-641508DFA685}"/>
              </a:ext>
            </a:extLst>
          </p:cNvPr>
          <p:cNvSpPr/>
          <p:nvPr/>
        </p:nvSpPr>
        <p:spPr>
          <a:xfrm>
            <a:off x="8262852" y="2926972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 err="1">
                <a:solidFill>
                  <a:schemeClr val="tx1"/>
                </a:solidFill>
              </a:rPr>
              <a:t>secret</a:t>
            </a:r>
            <a:endParaRPr lang="de-DE" sz="30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FC45627-B9E9-A43D-3222-13DE4950B23B}"/>
              </a:ext>
            </a:extLst>
          </p:cNvPr>
          <p:cNvSpPr/>
          <p:nvPr/>
        </p:nvSpPr>
        <p:spPr>
          <a:xfrm>
            <a:off x="8262852" y="4140137"/>
            <a:ext cx="2859578" cy="201128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2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54DB8E0-291A-7F1A-F111-42A41A892BF1}"/>
              </a:ext>
            </a:extLst>
          </p:cNvPr>
          <p:cNvCxnSpPr>
            <a:cxnSpLocks/>
          </p:cNvCxnSpPr>
          <p:nvPr/>
        </p:nvCxnSpPr>
        <p:spPr>
          <a:xfrm flipH="1">
            <a:off x="6375534" y="2801903"/>
            <a:ext cx="956292" cy="0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0F4BF22F-C519-9172-8846-1C34A08A25E6}"/>
              </a:ext>
            </a:extLst>
          </p:cNvPr>
          <p:cNvCxnSpPr>
            <a:cxnSpLocks/>
          </p:cNvCxnSpPr>
          <p:nvPr/>
        </p:nvCxnSpPr>
        <p:spPr>
          <a:xfrm flipH="1">
            <a:off x="11215275" y="3281681"/>
            <a:ext cx="800814" cy="0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661860E7-3A80-7B62-BAC7-A946C4C337DA}"/>
              </a:ext>
            </a:extLst>
          </p:cNvPr>
          <p:cNvSpPr txBox="1"/>
          <p:nvPr/>
        </p:nvSpPr>
        <p:spPr>
          <a:xfrm>
            <a:off x="1069570" y="5285509"/>
            <a:ext cx="5080000" cy="9783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3000" cap="none" dirty="0">
                <a:solidFill>
                  <a:schemeClr val="accent6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Access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the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secret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based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on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attacker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-chosen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index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x 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066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6CD82-EA9F-8C59-898F-5E6F1174F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1AE794-F306-6AB3-2689-683A60369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Background – Transient Execution Side Channel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1A4B2A3-853F-75B6-A352-0EE9A12ADD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A8F272A-F844-10B9-BC0B-93EA6B3138F6}"/>
              </a:ext>
            </a:extLst>
          </p:cNvPr>
          <p:cNvSpPr txBox="1"/>
          <p:nvPr/>
        </p:nvSpPr>
        <p:spPr>
          <a:xfrm>
            <a:off x="1629295" y="2044931"/>
            <a:ext cx="6999316" cy="41064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79C5221-4705-6151-49FB-DC9ED5B78997}"/>
              </a:ext>
            </a:extLst>
          </p:cNvPr>
          <p:cNvSpPr txBox="1"/>
          <p:nvPr/>
        </p:nvSpPr>
        <p:spPr>
          <a:xfrm>
            <a:off x="1097282" y="1712422"/>
            <a:ext cx="6601740" cy="3241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if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( x &lt; array1size) {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</a:t>
            </a:r>
            <a:r>
              <a:rPr lang="de-DE" sz="36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= array1[x];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	y = array2[</a:t>
            </a:r>
            <a:r>
              <a:rPr lang="de-DE" sz="3600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</a:t>
            </a: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* 256];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}</a:t>
            </a:r>
            <a:r>
              <a:rPr lang="de-DE" sz="36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3600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066CBBB-DE5F-DEEA-71A4-B9BB7ADCB0D5}"/>
              </a:ext>
            </a:extLst>
          </p:cNvPr>
          <p:cNvSpPr/>
          <p:nvPr/>
        </p:nvSpPr>
        <p:spPr>
          <a:xfrm>
            <a:off x="8262852" y="1712422"/>
            <a:ext cx="2859578" cy="443899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818B848-D5D9-F526-D06E-A49BBCA949E2}"/>
              </a:ext>
            </a:extLst>
          </p:cNvPr>
          <p:cNvSpPr txBox="1"/>
          <p:nvPr/>
        </p:nvSpPr>
        <p:spPr>
          <a:xfrm>
            <a:off x="8902932" y="6151418"/>
            <a:ext cx="5902036" cy="4438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Memory</a:t>
            </a:r>
            <a:endParaRPr lang="de-DE" sz="3600" cap="none" dirty="0">
              <a:latin typeface="Red Hat Text" panose="020B0604020202020204" charset="0"/>
              <a:ea typeface="Red Hat Text" panose="020B0604020202020204" charset="0"/>
              <a:cs typeface="Red Hat Text" panose="020B0604020202020204" charset="0"/>
              <a:sym typeface="Montserrat" panose="000005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D9B0AE5-7201-71A9-98A9-CC8B73B497C3}"/>
              </a:ext>
            </a:extLst>
          </p:cNvPr>
          <p:cNvSpPr/>
          <p:nvPr/>
        </p:nvSpPr>
        <p:spPr>
          <a:xfrm>
            <a:off x="8262852" y="1713807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1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C6E1BAB-9270-3944-1FE8-805CF001355F}"/>
              </a:ext>
            </a:extLst>
          </p:cNvPr>
          <p:cNvSpPr/>
          <p:nvPr/>
        </p:nvSpPr>
        <p:spPr>
          <a:xfrm>
            <a:off x="8262852" y="2926972"/>
            <a:ext cx="2859578" cy="6622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 err="1">
                <a:solidFill>
                  <a:schemeClr val="tx1"/>
                </a:solidFill>
              </a:rPr>
              <a:t>secret</a:t>
            </a:r>
            <a:endParaRPr lang="de-DE" sz="30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E762844-7622-AD06-D6DE-014080C9C5DD}"/>
              </a:ext>
            </a:extLst>
          </p:cNvPr>
          <p:cNvSpPr/>
          <p:nvPr/>
        </p:nvSpPr>
        <p:spPr>
          <a:xfrm>
            <a:off x="8262852" y="4140137"/>
            <a:ext cx="2859578" cy="201128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000" dirty="0">
                <a:solidFill>
                  <a:schemeClr val="tx1"/>
                </a:solidFill>
              </a:rPr>
              <a:t>array2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38F6F37-9BEB-8F88-BBC3-B420E858412F}"/>
              </a:ext>
            </a:extLst>
          </p:cNvPr>
          <p:cNvCxnSpPr>
            <a:cxnSpLocks/>
          </p:cNvCxnSpPr>
          <p:nvPr/>
        </p:nvCxnSpPr>
        <p:spPr>
          <a:xfrm flipH="1">
            <a:off x="6375534" y="3501814"/>
            <a:ext cx="956292" cy="0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222CDB8D-C655-03EF-2981-D559E70CF3F7}"/>
              </a:ext>
            </a:extLst>
          </p:cNvPr>
          <p:cNvCxnSpPr>
            <a:cxnSpLocks/>
          </p:cNvCxnSpPr>
          <p:nvPr/>
        </p:nvCxnSpPr>
        <p:spPr>
          <a:xfrm flipH="1">
            <a:off x="11215275" y="5934571"/>
            <a:ext cx="800814" cy="0"/>
          </a:xfrm>
          <a:prstGeom prst="straightConnector1">
            <a:avLst/>
          </a:prstGeom>
          <a:ln w="762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5D985929-92FE-1787-239A-5C632EE726CB}"/>
              </a:ext>
            </a:extLst>
          </p:cNvPr>
          <p:cNvSpPr txBox="1"/>
          <p:nvPr/>
        </p:nvSpPr>
        <p:spPr>
          <a:xfrm>
            <a:off x="1069570" y="5285509"/>
            <a:ext cx="6601740" cy="9783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000"/>
              </a:spcBef>
            </a:pPr>
            <a:r>
              <a:rPr lang="de-DE" sz="3000" cap="none" dirty="0" err="1">
                <a:solidFill>
                  <a:schemeClr val="accent5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Transmit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the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secret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by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accessing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a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primed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array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based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on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the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secret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  <a:r>
              <a:rPr lang="de-DE" sz="3000" cap="none" dirty="0" err="1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value</a:t>
            </a:r>
            <a:r>
              <a:rPr lang="de-DE" sz="3000" cap="none" dirty="0"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  <a:sym typeface="Montserrat" panose="00000500000000000000" pitchFamily="2" charset="0"/>
              </a:rPr>
              <a:t> </a:t>
            </a:r>
          </a:p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534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7FC80-D729-58DC-1AEC-27969D00D7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36263E-5180-21CB-EFDC-30011D54C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76B89C-A896-2282-4395-7E00F36730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F03427-1D7C-6576-523B-872B8156E3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Researchers and industry develop mitigations to prevent attac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Software: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3000" dirty="0"/>
              <a:t>Add speculation barriers to the kerne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Hardware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3000" dirty="0"/>
              <a:t>Close high bandwidth channels (i.e., cache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3000" dirty="0"/>
              <a:t>Selectively delay instruction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531FAA6-119B-54CA-C85A-74557A6D1E65}"/>
              </a:ext>
            </a:extLst>
          </p:cNvPr>
          <p:cNvSpPr txBox="1"/>
          <p:nvPr/>
        </p:nvSpPr>
        <p:spPr>
          <a:xfrm>
            <a:off x="1636888" y="5731797"/>
            <a:ext cx="7439379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</a:rPr>
              <a:t>BUT: Prototyping hardware is a costly process</a:t>
            </a:r>
          </a:p>
        </p:txBody>
      </p:sp>
    </p:spTree>
    <p:extLst>
      <p:ext uri="{BB962C8B-B14F-4D97-AF65-F5344CB8AC3E}">
        <p14:creationId xmlns:p14="http://schemas.microsoft.com/office/powerpoint/2010/main" val="1048128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FF2C20-0033-0159-42CE-0C4AD87C9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D1B7FE-BD83-7B28-10FA-F6E1F9F02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498598"/>
          </a:xfrm>
        </p:spPr>
        <p:txBody>
          <a:bodyPr/>
          <a:lstStyle/>
          <a:p>
            <a:r>
              <a:rPr lang="en-US" sz="3600" dirty="0"/>
              <a:t>Mitigati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DE329A9-55C7-7938-A19F-7B6B77535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DE3F595-A852-4328-49A0-6B1532F1D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Researchers use </a:t>
            </a:r>
            <a:r>
              <a:rPr lang="en-US" sz="3000" b="1" dirty="0">
                <a:solidFill>
                  <a:schemeClr val="tx2"/>
                </a:solidFill>
              </a:rPr>
              <a:t>gem5 </a:t>
            </a:r>
            <a:r>
              <a:rPr lang="en-US" sz="3000" dirty="0"/>
              <a:t>for fast prototyp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Flexibil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Insight and debug capabili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Good performance estimate</a:t>
            </a:r>
          </a:p>
          <a:p>
            <a:pPr marL="457208" lvl="1" indent="0">
              <a:buNone/>
            </a:pPr>
            <a:endParaRPr lang="en-US" sz="3000" dirty="0"/>
          </a:p>
          <a:p>
            <a:pPr marL="914400" lvl="1" indent="-457200">
              <a:buFont typeface="Wingdings" panose="05000000000000000000" pitchFamily="2" charset="2"/>
              <a:buChar char="à"/>
            </a:pPr>
            <a:r>
              <a:rPr lang="en-US" sz="3000" b="1" dirty="0">
                <a:solidFill>
                  <a:schemeClr val="tx2"/>
                </a:solidFill>
              </a:rPr>
              <a:t>Is the architecture secure?</a:t>
            </a:r>
          </a:p>
          <a:p>
            <a:pPr lvl="1">
              <a:buFont typeface="Wingdings" panose="05000000000000000000" pitchFamily="2" charset="2"/>
              <a:buChar char="à"/>
            </a:pPr>
            <a:endParaRPr lang="en-US" sz="1800" b="1" dirty="0"/>
          </a:p>
          <a:p>
            <a:pPr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710D280-A859-C637-66E3-F00D25EAB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999" y="1528448"/>
            <a:ext cx="7745659" cy="3219333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8DB7C2E3-2BC0-2199-0F7B-05EAD3F9D30D}"/>
              </a:ext>
            </a:extLst>
          </p:cNvPr>
          <p:cNvSpPr/>
          <p:nvPr/>
        </p:nvSpPr>
        <p:spPr>
          <a:xfrm>
            <a:off x="1230489" y="2607733"/>
            <a:ext cx="959555" cy="643467"/>
          </a:xfrm>
          <a:prstGeom prst="ellipse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504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4FED56-78D1-20C5-92E5-FB2029839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curity </a:t>
            </a:r>
            <a:r>
              <a:rPr lang="de-DE" dirty="0" err="1"/>
              <a:t>Reasoni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15D9D00-A223-6477-5805-491EEA368E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D2182AF-C1DB-1C06-EFB7-AA28EA5102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Pen-and-paper proof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Automated Design-Time Testing [Fu et al.]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000" dirty="0"/>
              <a:t>Launching sample attac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Success or fai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000" dirty="0"/>
              <a:t>How is the attack mitigated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5974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7AB3454-8D4A-4F31-9FE5-A1062C8E9C47}" vid="{A545D24D-5D01-44BD-85F7-824FC929540F}"/>
    </a:ext>
  </a:extLst>
</a:theme>
</file>

<file path=ppt/theme/theme2.xml><?xml version="1.0" encoding="utf-8"?>
<a:theme xmlns:a="http://schemas.openxmlformats.org/drawingml/2006/main" name="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7AB3454-8D4A-4F31-9FE5-A1062C8E9C47}" vid="{39C49219-D828-4DA9-9737-063858253CD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2</Words>
  <Application>Microsoft Office PowerPoint</Application>
  <PresentationFormat>Breitbild</PresentationFormat>
  <Paragraphs>180</Paragraphs>
  <Slides>27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7" baseType="lpstr">
      <vt:lpstr>Montserrat</vt:lpstr>
      <vt:lpstr>Wingdings</vt:lpstr>
      <vt:lpstr>Red Hat Text</vt:lpstr>
      <vt:lpstr>Avenir Next LT Pro</vt:lpstr>
      <vt:lpstr>Arial</vt:lpstr>
      <vt:lpstr>Systemschrift Normal</vt:lpstr>
      <vt:lpstr>Red Hat Text SemiBold</vt:lpstr>
      <vt:lpstr>RPTU-Master Sonderfolien</vt:lpstr>
      <vt:lpstr>RPTUMaster - Inhaltsfolien</vt:lpstr>
      <vt:lpstr>think-cell Folie</vt:lpstr>
      <vt:lpstr>SecureView:    Visualizing Defense against Transient Execution Side Channels</vt:lpstr>
      <vt:lpstr>PowerPoint-Präsentation</vt:lpstr>
      <vt:lpstr>Background – Transient Execution Side Channels</vt:lpstr>
      <vt:lpstr>Background – Transient Execution Side Channels</vt:lpstr>
      <vt:lpstr>Background – Transient Execution Side Channels</vt:lpstr>
      <vt:lpstr>Background – Transient Execution Side Channels</vt:lpstr>
      <vt:lpstr>Mitigations</vt:lpstr>
      <vt:lpstr>Mitigations</vt:lpstr>
      <vt:lpstr>Security Reasoning</vt:lpstr>
      <vt:lpstr>o3PipeView</vt:lpstr>
      <vt:lpstr>SecureView</vt:lpstr>
      <vt:lpstr>Speculation</vt:lpstr>
      <vt:lpstr>Speculation</vt:lpstr>
      <vt:lpstr>SecureView</vt:lpstr>
      <vt:lpstr>Mitigations</vt:lpstr>
      <vt:lpstr>Mitigations</vt:lpstr>
      <vt:lpstr>Eager Delay</vt:lpstr>
      <vt:lpstr>Mitigations</vt:lpstr>
      <vt:lpstr>Mitigations</vt:lpstr>
      <vt:lpstr>STT</vt:lpstr>
      <vt:lpstr>Mitigations</vt:lpstr>
      <vt:lpstr>Mitigations</vt:lpstr>
      <vt:lpstr>Thwarting an example Attack</vt:lpstr>
      <vt:lpstr>Thwarting an example Attack</vt:lpstr>
      <vt:lpstr>Conclusion &amp; Future Work</vt:lpstr>
      <vt:lpstr>Literature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S II Exercise</dc:title>
  <dc:subject/>
  <dc:creator>Tobias Jauch</dc:creator>
  <cp:keywords/>
  <dc:description/>
  <cp:lastModifiedBy>Philipp Schmitz</cp:lastModifiedBy>
  <cp:revision>97</cp:revision>
  <dcterms:created xsi:type="dcterms:W3CDTF">2023-01-12T09:28:11Z</dcterms:created>
  <dcterms:modified xsi:type="dcterms:W3CDTF">2025-06-20T17:29:13Z</dcterms:modified>
  <cp:category/>
</cp:coreProperties>
</file>